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Default Extension="svg" ContentType="image/svg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Default Extension="vml" ContentType="application/vnd.openxmlformats-officedocument.vmlDrawing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5"/>
  </p:notesMasterIdLst>
  <p:sldIdLst>
    <p:sldId id="271" r:id="rId2"/>
    <p:sldId id="269" r:id="rId3"/>
    <p:sldId id="270" r:id="rId4"/>
  </p:sldIdLst>
  <p:sldSz cx="12192000" cy="6858000"/>
  <p:notesSz cx="9926638" cy="67976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86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292929"/>
    <a:srgbClr val="333333"/>
    <a:srgbClr val="C2F3E7"/>
    <a:srgbClr val="2ECAC8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 showGuides="1">
      <p:cViewPr varScale="1">
        <p:scale>
          <a:sx n="81" d="100"/>
          <a:sy n="81" d="100"/>
        </p:scale>
        <p:origin x="-84" y="-546"/>
      </p:cViewPr>
      <p:guideLst>
        <p:guide orient="horz" pos="2160"/>
        <p:guide pos="86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8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CAF82A-FE9D-49BF-B43F-C232ED3D5048}" type="datetimeFigureOut">
              <a:rPr lang="ru-RU" smtClean="0"/>
              <a:pPr/>
              <a:t>12.01.2024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849313"/>
            <a:ext cx="4078288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4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8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6E2FEC-6B80-40FB-B442-EB357746CFC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35869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6E2FEC-6B80-40FB-B442-EB357746CFC8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342331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8.sv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xmlns="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71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94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34FFE443-A806-4B0E-B29B-2FB0A67F4C84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689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xmlns="" id="{16EEB178-8A08-4BF4-91DA-5B98646AA5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62" r="3286" b="1"/>
          <a:stretch/>
        </p:blipFill>
        <p:spPr>
          <a:xfrm>
            <a:off x="635917" y="0"/>
            <a:ext cx="11556084" cy="6858000"/>
          </a:xfrm>
          <a:prstGeom prst="rect">
            <a:avLst/>
          </a:prstGeom>
        </p:spPr>
      </p:pic>
      <p:pic>
        <p:nvPicPr>
          <p:cNvPr id="9" name="Рисунок 9">
            <a:extLst>
              <a:ext uri="{FF2B5EF4-FFF2-40B4-BE49-F238E27FC236}">
                <a16:creationId xmlns:a16="http://schemas.microsoft.com/office/drawing/2014/main" xmlns="" id="{FD4E993C-AAE6-4DAE-BC68-1D26D25B340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87394" y="202349"/>
            <a:ext cx="2498382" cy="914353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0E230ABB-6F58-4234-9FBD-8AB41404948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861723" y="0"/>
            <a:ext cx="6470588" cy="6858000"/>
          </a:xfrm>
          <a:prstGeom prst="rect">
            <a:avLst/>
          </a:prstGeom>
        </p:spPr>
      </p:pic>
      <p:pic>
        <p:nvPicPr>
          <p:cNvPr id="11" name="Graphic 8">
            <a:extLst>
              <a:ext uri="{FF2B5EF4-FFF2-40B4-BE49-F238E27FC236}">
                <a16:creationId xmlns:a16="http://schemas.microsoft.com/office/drawing/2014/main" xmlns="" id="{DF718007-AE6D-4DA1-AD07-FC02DD9B36A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405454" y="1480906"/>
            <a:ext cx="3859200" cy="38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885598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4E38BDAC-3B43-4DC5-A7A6-2D8289D222D8}"/>
              </a:ext>
            </a:extLst>
          </p:cNvPr>
          <p:cNvSpPr/>
          <p:nvPr userDrawn="1"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689"/>
          </a:p>
        </p:txBody>
      </p:sp>
      <p:pic>
        <p:nvPicPr>
          <p:cNvPr id="7" name="Рисунок 12">
            <a:extLst>
              <a:ext uri="{FF2B5EF4-FFF2-40B4-BE49-F238E27FC236}">
                <a16:creationId xmlns:a16="http://schemas.microsoft.com/office/drawing/2014/main" xmlns="" id="{503914FA-7A76-4387-BB11-93FA4D5325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t="-62" r="3286" b="1"/>
          <a:stretch/>
        </p:blipFill>
        <p:spPr>
          <a:xfrm>
            <a:off x="635917" y="0"/>
            <a:ext cx="11556084" cy="6858000"/>
          </a:xfrm>
          <a:prstGeom prst="rect">
            <a:avLst/>
          </a:prstGeom>
        </p:spPr>
      </p:pic>
      <p:pic>
        <p:nvPicPr>
          <p:cNvPr id="8" name="Рисунок 9">
            <a:extLst>
              <a:ext uri="{FF2B5EF4-FFF2-40B4-BE49-F238E27FC236}">
                <a16:creationId xmlns:a16="http://schemas.microsoft.com/office/drawing/2014/main" xmlns="" id="{81FC088D-D1AA-4942-A5CE-35DA68ADA5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87394" y="202349"/>
            <a:ext cx="2498382" cy="914353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A141DAEB-720D-48D1-A0EB-FBCF3243BD5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861723" y="0"/>
            <a:ext cx="6470588" cy="6858000"/>
          </a:xfrm>
          <a:prstGeom prst="rect">
            <a:avLst/>
          </a:prstGeom>
        </p:spPr>
      </p:pic>
      <p:pic>
        <p:nvPicPr>
          <p:cNvPr id="10" name="Graphic 8">
            <a:extLst>
              <a:ext uri="{FF2B5EF4-FFF2-40B4-BE49-F238E27FC236}">
                <a16:creationId xmlns:a16="http://schemas.microsoft.com/office/drawing/2014/main" xmlns="" id="{0C8F999A-8D15-4F64-BDE2-FC3CF79544B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405454" y="1480906"/>
            <a:ext cx="3859200" cy="38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045528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 flip="none" rotWithShape="1">
          <a:gsLst>
            <a:gs pos="20000">
              <a:schemeClr val="accent1">
                <a:lumMod val="60000"/>
                <a:lumOff val="40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62" r="17001" b="1"/>
          <a:stretch/>
        </p:blipFill>
        <p:spPr>
          <a:xfrm>
            <a:off x="3456323" y="806605"/>
            <a:ext cx="8735684" cy="604086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2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28379" y="200448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2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9" y="9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439351" algn="l"/>
              </a:tabLst>
              <a:defRPr sz="7586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b="18390"/>
          <a:stretch/>
        </p:blipFill>
        <p:spPr>
          <a:xfrm>
            <a:off x="175394" y="143264"/>
            <a:ext cx="611246" cy="55168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xmlns="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62" r="17001" b="1"/>
          <a:stretch/>
        </p:blipFill>
        <p:spPr>
          <a:xfrm flipH="1">
            <a:off x="-2" y="838206"/>
            <a:ext cx="8735684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487F540E-7226-4198-900C-EAE132E03E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7"/>
            <a:ext cx="2743200" cy="365125"/>
          </a:xfrm>
          <a:effectLst/>
        </p:spPr>
        <p:txBody>
          <a:bodyPr/>
          <a:lstStyle>
            <a:lvl1pPr>
              <a:defRPr sz="4425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A8EF5CCD-AA0A-45D5-BB19-6C4B94655AD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6089790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7243" userDrawn="1">
          <p15:clr>
            <a:srgbClr val="FBAE40"/>
          </p15:clr>
        </p15:guide>
        <p15:guide id="2" pos="597" userDrawn="1">
          <p15:clr>
            <a:srgbClr val="FBAE40"/>
          </p15:clr>
        </p15:guide>
        <p15:guide id="3" pos="27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екст">
    <p:bg>
      <p:bgPr>
        <a:gradFill flip="none" rotWithShape="1">
          <a:gsLst>
            <a:gs pos="20000">
              <a:schemeClr val="accent1">
                <a:lumMod val="60000"/>
                <a:lumOff val="40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CB0E6F8F-C4DC-4F9B-AC18-8C8F8216BDE4}"/>
              </a:ext>
            </a:extLst>
          </p:cNvPr>
          <p:cNvGrpSpPr/>
          <p:nvPr userDrawn="1"/>
        </p:nvGrpSpPr>
        <p:grpSpPr>
          <a:xfrm>
            <a:off x="-2" y="1"/>
            <a:ext cx="12192004" cy="6879068"/>
            <a:chOff x="-2" y="806601"/>
            <a:chExt cx="12192004" cy="6072467"/>
          </a:xfrm>
        </p:grpSpPr>
        <p:pic>
          <p:nvPicPr>
            <p:cNvPr id="11" name="Рисунок 12">
              <a:extLst>
                <a:ext uri="{FF2B5EF4-FFF2-40B4-BE49-F238E27FC236}">
                  <a16:creationId xmlns:a16="http://schemas.microsoft.com/office/drawing/2014/main" xmlns="" id="{C8B3E92D-5807-47A2-8A40-D247F86C42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-62" r="17001" b="1"/>
            <a:stretch/>
          </p:blipFill>
          <p:spPr>
            <a:xfrm>
              <a:off x="3456321" y="806601"/>
              <a:ext cx="8735681" cy="6040867"/>
            </a:xfrm>
            <a:prstGeom prst="rect">
              <a:avLst/>
            </a:prstGeom>
          </p:spPr>
        </p:pic>
        <p:pic>
          <p:nvPicPr>
            <p:cNvPr id="14" name="Рисунок 12">
              <a:extLst>
                <a:ext uri="{FF2B5EF4-FFF2-40B4-BE49-F238E27FC236}">
                  <a16:creationId xmlns:a16="http://schemas.microsoft.com/office/drawing/2014/main" xmlns="" id="{BB7AF5DC-3786-4D67-A20D-5694F04E10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-62" r="17001" b="1"/>
            <a:stretch/>
          </p:blipFill>
          <p:spPr>
            <a:xfrm flipH="1">
              <a:off x="-2" y="838201"/>
              <a:ext cx="8735683" cy="6040867"/>
            </a:xfrm>
            <a:prstGeom prst="rect">
              <a:avLst/>
            </a:prstGeom>
          </p:spPr>
        </p:pic>
      </p:grp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487F540E-7226-4198-900C-EAE132E03E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7"/>
            <a:ext cx="2743200" cy="365125"/>
          </a:xfrm>
          <a:effectLst/>
        </p:spPr>
        <p:txBody>
          <a:bodyPr/>
          <a:lstStyle>
            <a:lvl1pPr>
              <a:defRPr sz="4425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A8EF5CCD-AA0A-45D5-BB19-6C4B94655AD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5060301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7243" userDrawn="1">
          <p15:clr>
            <a:srgbClr val="FBAE40"/>
          </p15:clr>
        </p15:guide>
        <p15:guide id="2" pos="597" userDrawn="1">
          <p15:clr>
            <a:srgbClr val="FBAE40"/>
          </p15:clr>
        </p15:guide>
        <p15:guide id="3" pos="27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lum bright="13000" contrast="15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5689"/>
          <a:stretch/>
        </p:blipFill>
        <p:spPr>
          <a:xfrm>
            <a:off x="-2" y="6089274"/>
            <a:ext cx="12192004" cy="76873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24893" b="82953"/>
          <a:stretch/>
        </p:blipFill>
        <p:spPr>
          <a:xfrm>
            <a:off x="4408532" y="5844691"/>
            <a:ext cx="7783472" cy="1013309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7"/>
            <a:ext cx="2743200" cy="365125"/>
          </a:xfrm>
          <a:effectLst/>
        </p:spPr>
        <p:txBody>
          <a:bodyPr/>
          <a:lstStyle>
            <a:lvl1pPr>
              <a:defRPr sz="4425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A8EF5CCD-AA0A-45D5-BB19-6C4B94655AD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2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9" y="9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439351" algn="l"/>
              </a:tabLst>
              <a:defRPr sz="7586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xmlns="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b="18390"/>
          <a:stretch/>
        </p:blipFill>
        <p:spPr>
          <a:xfrm>
            <a:off x="175394" y="143264"/>
            <a:ext cx="611246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2346" b="88978"/>
          <a:stretch/>
        </p:blipFill>
        <p:spPr>
          <a:xfrm>
            <a:off x="5" y="6219833"/>
            <a:ext cx="7011051" cy="655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778575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4" pos="7243" userDrawn="1">
          <p15:clr>
            <a:srgbClr val="FBAE40"/>
          </p15:clr>
        </p15:guide>
        <p15:guide id="5" pos="597" userDrawn="1">
          <p15:clr>
            <a:srgbClr val="FBAE40"/>
          </p15:clr>
        </p15:guide>
        <p15:guide id="6" pos="27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5"/>
            <a:ext cx="2743200" cy="365125"/>
          </a:xfrm>
        </p:spPr>
        <p:txBody>
          <a:bodyPr/>
          <a:lstStyle>
            <a:lvl1pPr>
              <a:defRPr sz="4425" b="1">
                <a:solidFill>
                  <a:schemeClr val="tx2"/>
                </a:solidFill>
              </a:defRPr>
            </a:lvl1pPr>
          </a:lstStyle>
          <a:p>
            <a:fld id="{A8EF5CCD-AA0A-45D5-BB19-6C4B94655AD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2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9" y="9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439351" algn="l"/>
              </a:tabLst>
              <a:defRPr sz="7586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b="18390"/>
          <a:stretch/>
        </p:blipFill>
        <p:spPr>
          <a:xfrm>
            <a:off x="175394" y="143264"/>
            <a:ext cx="611246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0363988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4" pos="7243" userDrawn="1">
          <p15:clr>
            <a:srgbClr val="FBAE40"/>
          </p15:clr>
        </p15:guide>
        <p15:guide id="5" pos="597" userDrawn="1">
          <p15:clr>
            <a:srgbClr val="FBAE40"/>
          </p15:clr>
        </p15:guide>
        <p15:guide id="6" pos="27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18964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7586"/>
            </a:lvl1pPr>
            <a:lvl2pPr marL="1445015" indent="0" algn="ctr">
              <a:buNone/>
              <a:defRPr sz="6324"/>
            </a:lvl2pPr>
            <a:lvl3pPr marL="2890025" indent="0" algn="ctr">
              <a:buNone/>
              <a:defRPr sz="5689"/>
            </a:lvl3pPr>
            <a:lvl4pPr marL="4335043" indent="0" algn="ctr">
              <a:buNone/>
              <a:defRPr sz="5056"/>
            </a:lvl4pPr>
            <a:lvl5pPr marL="5780058" indent="0" algn="ctr">
              <a:buNone/>
              <a:defRPr sz="5056"/>
            </a:lvl5pPr>
            <a:lvl6pPr marL="7225072" indent="0" algn="ctr">
              <a:buNone/>
              <a:defRPr sz="5056"/>
            </a:lvl6pPr>
            <a:lvl7pPr marL="8670082" indent="0" algn="ctr">
              <a:buNone/>
              <a:defRPr sz="5056"/>
            </a:lvl7pPr>
            <a:lvl8pPr marL="10115097" indent="0" algn="ctr">
              <a:buNone/>
              <a:defRPr sz="5056"/>
            </a:lvl8pPr>
            <a:lvl9pPr marL="11560112" indent="0" algn="ctr">
              <a:buNone/>
              <a:defRPr sz="5056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1" y="6356355"/>
            <a:ext cx="2743200" cy="365125"/>
          </a:xfrm>
          <a:prstGeom prst="rect">
            <a:avLst/>
          </a:prstGeom>
        </p:spPr>
        <p:txBody>
          <a:bodyPr/>
          <a:lstStyle/>
          <a:p>
            <a:fld id="{770FF63F-FED8-41B1-AD48-8FD1E3062FA5}" type="datetimeFigureOut">
              <a:rPr lang="ru-RU" smtClean="0"/>
              <a:pPr/>
              <a:t>12.01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5" y="635635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84220A-BBEC-44D4-9270-BB515914FFD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166905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5" y="3651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5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792">
                <a:solidFill>
                  <a:schemeClr val="tx2"/>
                </a:solidFill>
              </a:defRPr>
            </a:lvl1pPr>
          </a:lstStyle>
          <a:p>
            <a:fld id="{A8EF5CCD-AA0A-45D5-BB19-6C4B94655AD3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28CDE0F-CEF4-4D20-8F93-1EFA50CDBB7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94" y="1594"/>
          <a:ext cx="1588" cy="1587"/>
        </p:xfrm>
        <a:graphic>
          <a:graphicData uri="http://schemas.openxmlformats.org/presentationml/2006/ole">
            <p:oleObj spid="_x0000_s1200" name="think-cell Slide" r:id="rId12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9DE8448-79F6-4E64-8908-A1978A95A67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2" y="5"/>
            <a:ext cx="195385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192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CCF2D9C-37A4-49FE-A982-490E5B54EA1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94" y="1594"/>
          <a:ext cx="1588" cy="1587"/>
        </p:xfrm>
        <a:graphic>
          <a:graphicData uri="http://schemas.openxmlformats.org/presentationml/2006/ole">
            <p:oleObj spid="_x0000_s1201" name="think-cell Slide" r:id="rId13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C15CC6A5-3E80-402A-AAB1-001E02757063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2" y="5"/>
            <a:ext cx="195385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192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11884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75" r:id="rId2"/>
    <p:sldLayoutId id="2147483667" r:id="rId3"/>
    <p:sldLayoutId id="2147483674" r:id="rId4"/>
    <p:sldLayoutId id="2147483668" r:id="rId5"/>
    <p:sldLayoutId id="2147483669" r:id="rId6"/>
    <p:sldLayoutId id="2147483676" r:id="rId7"/>
  </p:sldLayoutIdLst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  <p:txStyles>
    <p:titleStyle>
      <a:lvl1pPr algn="l" defTabSz="2889812" rtl="0" eaLnBrk="1" latinLnBrk="0" hangingPunct="1">
        <a:lnSpc>
          <a:spcPct val="90000"/>
        </a:lnSpc>
        <a:spcBef>
          <a:spcPct val="0"/>
        </a:spcBef>
        <a:buNone/>
        <a:defRPr sz="13906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722459" indent="-722459" algn="l" defTabSz="2889812" rtl="0" eaLnBrk="1" latinLnBrk="0" hangingPunct="1">
        <a:lnSpc>
          <a:spcPct val="90000"/>
        </a:lnSpc>
        <a:spcBef>
          <a:spcPts val="3161"/>
        </a:spcBef>
        <a:buClr>
          <a:schemeClr val="tx2"/>
        </a:buClr>
        <a:buSzPct val="100000"/>
        <a:buFont typeface="Arial" panose="020B0604020202020204" pitchFamily="34" charset="0"/>
        <a:buChar char="•"/>
        <a:defRPr sz="8850" kern="1200">
          <a:solidFill>
            <a:schemeClr val="tx1"/>
          </a:solidFill>
          <a:latin typeface="+mn-lt"/>
          <a:ea typeface="+mn-ea"/>
          <a:cs typeface="+mn-cs"/>
        </a:defRPr>
      </a:lvl1pPr>
      <a:lvl2pPr marL="2167362" indent="-722459" algn="l" defTabSz="2889812" rtl="0" eaLnBrk="1" latinLnBrk="0" hangingPunct="1">
        <a:lnSpc>
          <a:spcPct val="90000"/>
        </a:lnSpc>
        <a:spcBef>
          <a:spcPts val="158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7586" kern="1200">
          <a:solidFill>
            <a:schemeClr val="tx1"/>
          </a:solidFill>
          <a:latin typeface="+mn-lt"/>
          <a:ea typeface="+mn-ea"/>
          <a:cs typeface="+mn-cs"/>
        </a:defRPr>
      </a:lvl2pPr>
      <a:lvl3pPr marL="3612266" indent="-722459" algn="l" defTabSz="2889812" rtl="0" eaLnBrk="1" latinLnBrk="0" hangingPunct="1">
        <a:lnSpc>
          <a:spcPct val="90000"/>
        </a:lnSpc>
        <a:spcBef>
          <a:spcPts val="158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6324" kern="1200">
          <a:solidFill>
            <a:schemeClr val="tx1"/>
          </a:solidFill>
          <a:latin typeface="+mn-lt"/>
          <a:ea typeface="+mn-ea"/>
          <a:cs typeface="+mn-cs"/>
        </a:defRPr>
      </a:lvl3pPr>
      <a:lvl4pPr marL="5057171" indent="-722459" algn="l" defTabSz="2889812" rtl="0" eaLnBrk="1" latinLnBrk="0" hangingPunct="1">
        <a:lnSpc>
          <a:spcPct val="90000"/>
        </a:lnSpc>
        <a:spcBef>
          <a:spcPts val="158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5689" kern="1200">
          <a:solidFill>
            <a:schemeClr val="tx1"/>
          </a:solidFill>
          <a:latin typeface="+mn-lt"/>
          <a:ea typeface="+mn-ea"/>
          <a:cs typeface="+mn-cs"/>
        </a:defRPr>
      </a:lvl4pPr>
      <a:lvl5pPr marL="6502079" indent="-722459" algn="l" defTabSz="2889812" rtl="0" eaLnBrk="1" latinLnBrk="0" hangingPunct="1">
        <a:lnSpc>
          <a:spcPct val="90000"/>
        </a:lnSpc>
        <a:spcBef>
          <a:spcPts val="158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5689" kern="1200">
          <a:solidFill>
            <a:schemeClr val="tx1"/>
          </a:solidFill>
          <a:latin typeface="+mn-lt"/>
          <a:ea typeface="+mn-ea"/>
          <a:cs typeface="+mn-cs"/>
        </a:defRPr>
      </a:lvl5pPr>
      <a:lvl6pPr marL="7946985" indent="-722459" algn="l" defTabSz="2889812" rtl="0" eaLnBrk="1" latinLnBrk="0" hangingPunct="1">
        <a:lnSpc>
          <a:spcPct val="90000"/>
        </a:lnSpc>
        <a:spcBef>
          <a:spcPts val="1580"/>
        </a:spcBef>
        <a:buFont typeface="Arial" panose="020B0604020202020204" pitchFamily="34" charset="0"/>
        <a:buChar char="•"/>
        <a:defRPr sz="5689" kern="1200">
          <a:solidFill>
            <a:schemeClr val="tx1"/>
          </a:solidFill>
          <a:latin typeface="+mn-lt"/>
          <a:ea typeface="+mn-ea"/>
          <a:cs typeface="+mn-cs"/>
        </a:defRPr>
      </a:lvl6pPr>
      <a:lvl7pPr marL="9391888" indent="-722459" algn="l" defTabSz="2889812" rtl="0" eaLnBrk="1" latinLnBrk="0" hangingPunct="1">
        <a:lnSpc>
          <a:spcPct val="90000"/>
        </a:lnSpc>
        <a:spcBef>
          <a:spcPts val="1580"/>
        </a:spcBef>
        <a:buFont typeface="Arial" panose="020B0604020202020204" pitchFamily="34" charset="0"/>
        <a:buChar char="•"/>
        <a:defRPr sz="5689" kern="1200">
          <a:solidFill>
            <a:schemeClr val="tx1"/>
          </a:solidFill>
          <a:latin typeface="+mn-lt"/>
          <a:ea typeface="+mn-ea"/>
          <a:cs typeface="+mn-cs"/>
        </a:defRPr>
      </a:lvl7pPr>
      <a:lvl8pPr marL="10836797" indent="-722459" algn="l" defTabSz="2889812" rtl="0" eaLnBrk="1" latinLnBrk="0" hangingPunct="1">
        <a:lnSpc>
          <a:spcPct val="90000"/>
        </a:lnSpc>
        <a:spcBef>
          <a:spcPts val="1580"/>
        </a:spcBef>
        <a:buFont typeface="Arial" panose="020B0604020202020204" pitchFamily="34" charset="0"/>
        <a:buChar char="•"/>
        <a:defRPr sz="5689" kern="1200">
          <a:solidFill>
            <a:schemeClr val="tx1"/>
          </a:solidFill>
          <a:latin typeface="+mn-lt"/>
          <a:ea typeface="+mn-ea"/>
          <a:cs typeface="+mn-cs"/>
        </a:defRPr>
      </a:lvl8pPr>
      <a:lvl9pPr marL="12281704" indent="-722459" algn="l" defTabSz="2889812" rtl="0" eaLnBrk="1" latinLnBrk="0" hangingPunct="1">
        <a:lnSpc>
          <a:spcPct val="90000"/>
        </a:lnSpc>
        <a:spcBef>
          <a:spcPts val="1580"/>
        </a:spcBef>
        <a:buFont typeface="Arial" panose="020B0604020202020204" pitchFamily="34" charset="0"/>
        <a:buChar char="•"/>
        <a:defRPr sz="568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2889812" rtl="0" eaLnBrk="1" latinLnBrk="0" hangingPunct="1">
        <a:defRPr sz="5689" kern="1200">
          <a:solidFill>
            <a:schemeClr val="tx1"/>
          </a:solidFill>
          <a:latin typeface="+mn-lt"/>
          <a:ea typeface="+mn-ea"/>
          <a:cs typeface="+mn-cs"/>
        </a:defRPr>
      </a:lvl1pPr>
      <a:lvl2pPr marL="1444907" algn="l" defTabSz="2889812" rtl="0" eaLnBrk="1" latinLnBrk="0" hangingPunct="1">
        <a:defRPr sz="5689" kern="1200">
          <a:solidFill>
            <a:schemeClr val="tx1"/>
          </a:solidFill>
          <a:latin typeface="+mn-lt"/>
          <a:ea typeface="+mn-ea"/>
          <a:cs typeface="+mn-cs"/>
        </a:defRPr>
      </a:lvl2pPr>
      <a:lvl3pPr marL="2889812" algn="l" defTabSz="2889812" rtl="0" eaLnBrk="1" latinLnBrk="0" hangingPunct="1">
        <a:defRPr sz="5689" kern="1200">
          <a:solidFill>
            <a:schemeClr val="tx1"/>
          </a:solidFill>
          <a:latin typeface="+mn-lt"/>
          <a:ea typeface="+mn-ea"/>
          <a:cs typeface="+mn-cs"/>
        </a:defRPr>
      </a:lvl3pPr>
      <a:lvl4pPr marL="4334719" algn="l" defTabSz="2889812" rtl="0" eaLnBrk="1" latinLnBrk="0" hangingPunct="1">
        <a:defRPr sz="5689" kern="1200">
          <a:solidFill>
            <a:schemeClr val="tx1"/>
          </a:solidFill>
          <a:latin typeface="+mn-lt"/>
          <a:ea typeface="+mn-ea"/>
          <a:cs typeface="+mn-cs"/>
        </a:defRPr>
      </a:lvl4pPr>
      <a:lvl5pPr marL="5779626" algn="l" defTabSz="2889812" rtl="0" eaLnBrk="1" latinLnBrk="0" hangingPunct="1">
        <a:defRPr sz="5689" kern="1200">
          <a:solidFill>
            <a:schemeClr val="tx1"/>
          </a:solidFill>
          <a:latin typeface="+mn-lt"/>
          <a:ea typeface="+mn-ea"/>
          <a:cs typeface="+mn-cs"/>
        </a:defRPr>
      </a:lvl5pPr>
      <a:lvl6pPr marL="7224533" algn="l" defTabSz="2889812" rtl="0" eaLnBrk="1" latinLnBrk="0" hangingPunct="1">
        <a:defRPr sz="5689" kern="1200">
          <a:solidFill>
            <a:schemeClr val="tx1"/>
          </a:solidFill>
          <a:latin typeface="+mn-lt"/>
          <a:ea typeface="+mn-ea"/>
          <a:cs typeface="+mn-cs"/>
        </a:defRPr>
      </a:lvl6pPr>
      <a:lvl7pPr marL="8669431" algn="l" defTabSz="2889812" rtl="0" eaLnBrk="1" latinLnBrk="0" hangingPunct="1">
        <a:defRPr sz="5689" kern="1200">
          <a:solidFill>
            <a:schemeClr val="tx1"/>
          </a:solidFill>
          <a:latin typeface="+mn-lt"/>
          <a:ea typeface="+mn-ea"/>
          <a:cs typeface="+mn-cs"/>
        </a:defRPr>
      </a:lvl7pPr>
      <a:lvl8pPr marL="10114340" algn="l" defTabSz="2889812" rtl="0" eaLnBrk="1" latinLnBrk="0" hangingPunct="1">
        <a:defRPr sz="5689" kern="1200">
          <a:solidFill>
            <a:schemeClr val="tx1"/>
          </a:solidFill>
          <a:latin typeface="+mn-lt"/>
          <a:ea typeface="+mn-ea"/>
          <a:cs typeface="+mn-cs"/>
        </a:defRPr>
      </a:lvl8pPr>
      <a:lvl9pPr marL="11559250" algn="l" defTabSz="2889812" rtl="0" eaLnBrk="1" latinLnBrk="0" hangingPunct="1">
        <a:defRPr sz="568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5.jpeg"/><Relationship Id="rId7" Type="http://schemas.openxmlformats.org/officeDocument/2006/relationships/image" Target="../media/image16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2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2.png"/><Relationship Id="rId7" Type="http://schemas.openxmlformats.org/officeDocument/2006/relationships/image" Target="../media/image19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jpeg"/><Relationship Id="rId5" Type="http://schemas.openxmlformats.org/officeDocument/2006/relationships/image" Target="../media/image15.jpe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Группа 21"/>
          <p:cNvGrpSpPr/>
          <p:nvPr/>
        </p:nvGrpSpPr>
        <p:grpSpPr>
          <a:xfrm>
            <a:off x="0" y="6423137"/>
            <a:ext cx="12201525" cy="443436"/>
            <a:chOff x="0" y="6444925"/>
            <a:chExt cx="12201525" cy="421216"/>
          </a:xfrm>
        </p:grpSpPr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0" y="6444925"/>
              <a:ext cx="12201525" cy="421216"/>
            </a:xfrm>
            <a:prstGeom prst="rect">
              <a:avLst/>
            </a:prstGeom>
          </p:spPr>
        </p:pic>
        <p:pic>
          <p:nvPicPr>
            <p:cNvPr id="24" name="Рисунок 23">
              <a:extLst>
                <a:ext uri="{FF2B5EF4-FFF2-40B4-BE49-F238E27FC236}">
                  <a16:creationId xmlns="" xmlns:a16="http://schemas.microsoft.com/office/drawing/2014/main" id="{C61BBDC5-A263-B367-C49F-DFB02E5BFA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84273"/>
            <a:stretch/>
          </p:blipFill>
          <p:spPr>
            <a:xfrm>
              <a:off x="6896100" y="6444925"/>
              <a:ext cx="5295899" cy="413072"/>
            </a:xfrm>
            <a:prstGeom prst="rect">
              <a:avLst/>
            </a:prstGeom>
          </p:spPr>
        </p:pic>
      </p:grpSp>
      <p:pic>
        <p:nvPicPr>
          <p:cNvPr id="3077" name="Picture 9" descr="основное лого 2 красноярский край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9100" y="90899"/>
            <a:ext cx="3107270" cy="1090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820461" y="168633"/>
            <a:ext cx="97633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амятка для правообладателей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133725" y="1131411"/>
            <a:ext cx="870644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ача заявлений </a:t>
            </a:r>
            <a:r>
              <a:rPr lang="ru-RU" sz="20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редством Личного кабинета правообладателя сайта </a:t>
            </a:r>
            <a:r>
              <a:rPr lang="ru-RU" sz="2000" dirty="0" err="1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еестра</a:t>
            </a:r>
            <a:r>
              <a:rPr lang="ru-RU" sz="20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20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osreestr.gov.ru</a:t>
            </a:r>
            <a:r>
              <a:rPr lang="ru-RU" sz="20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возможна</a:t>
            </a:r>
            <a:r>
              <a:rPr lang="en-US" sz="20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з использования </a:t>
            </a:r>
            <a:r>
              <a:rPr lang="ru-RU" sz="20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иленной квалифицированной электронной подписи </a:t>
            </a:r>
            <a:r>
              <a:rPr lang="ru-RU" sz="20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ледующих случаях:</a:t>
            </a:r>
            <a:endParaRPr lang="ru-RU" sz="2000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841599" y="2719054"/>
            <a:ext cx="3462993" cy="230866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6" name="TextBox 5"/>
          <p:cNvSpPr txBox="1"/>
          <p:nvPr/>
        </p:nvSpPr>
        <p:spPr>
          <a:xfrm>
            <a:off x="610660" y="2239306"/>
            <a:ext cx="2724150" cy="584775"/>
          </a:xfrm>
          <a:prstGeom prst="rect">
            <a:avLst/>
          </a:prstGeom>
          <a:noFill/>
          <a:ln>
            <a:solidFill>
              <a:srgbClr val="292929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роен жилой или садовый дом</a:t>
            </a:r>
            <a:endParaRPr lang="ru-RU" sz="1600" b="1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10660" y="2995116"/>
            <a:ext cx="2724150" cy="830997"/>
          </a:xfrm>
          <a:prstGeom prst="rect">
            <a:avLst/>
          </a:prstGeom>
          <a:noFill/>
          <a:ln>
            <a:solidFill>
              <a:srgbClr val="292929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менились характеристики объекта </a:t>
            </a:r>
            <a:r>
              <a:rPr lang="ru-RU" sz="1600" b="1" dirty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вижимости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10660" y="3979518"/>
            <a:ext cx="2724150" cy="1077218"/>
          </a:xfrm>
          <a:prstGeom prst="rect">
            <a:avLst/>
          </a:prstGeom>
          <a:noFill/>
          <a:ln>
            <a:solidFill>
              <a:srgbClr val="292929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кт недвижимости образован до 1998 года и не стоит на государственном кадастровом учете</a:t>
            </a:r>
            <a:endParaRPr lang="ru-RU" sz="1600" b="1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27763" y="5214959"/>
            <a:ext cx="2724150" cy="830997"/>
          </a:xfrm>
          <a:prstGeom prst="rect">
            <a:avLst/>
          </a:prstGeom>
          <a:noFill/>
          <a:ln>
            <a:solidFill>
              <a:srgbClr val="292929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явлена техническая ошибка в выписке из ЕГРН</a:t>
            </a:r>
            <a:endParaRPr lang="ru-RU" sz="1600" b="1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927400" y="4189164"/>
            <a:ext cx="3795274" cy="1323439"/>
          </a:xfrm>
          <a:prstGeom prst="rect">
            <a:avLst/>
          </a:prstGeom>
          <a:noFill/>
          <a:ln>
            <a:solidFill>
              <a:srgbClr val="292929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обходимо внести в ЕГРН запись о невозможности государственной регистрации перехода права на объект недвижимости без Вашего личного участия</a:t>
            </a:r>
            <a:endParaRPr lang="ru-RU" sz="1600" b="1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927400" y="2398998"/>
            <a:ext cx="3716912" cy="1569660"/>
          </a:xfrm>
          <a:prstGeom prst="rect">
            <a:avLst/>
          </a:prstGeom>
          <a:noFill/>
          <a:ln>
            <a:solidFill>
              <a:srgbClr val="292929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обходимо внести в ЕГРН сведения </a:t>
            </a:r>
            <a:r>
              <a:rPr lang="ru-RU" sz="1600" b="1" dirty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 адресе электронной почты и (или) о почтовом </a:t>
            </a:r>
            <a:r>
              <a:rPr lang="ru-RU" sz="16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дресе для получения уведомлений о </a:t>
            </a:r>
            <a:r>
              <a:rPr lang="ru-RU" sz="1600" b="1" dirty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явлениях, поступивших </a:t>
            </a:r>
            <a:r>
              <a:rPr lang="ru-RU" sz="16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отношении Вашего объекта недвижимости</a:t>
            </a:r>
            <a:endParaRPr lang="ru-RU" sz="1600" b="1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320446" y="5557028"/>
            <a:ext cx="83238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ИМАНИЕ!!!  </a:t>
            </a:r>
            <a:r>
              <a:rPr lang="ru-RU" sz="2000" b="1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lang="ru-RU" sz="2000" b="1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таточно авторизации на </a:t>
            </a:r>
            <a:r>
              <a:rPr lang="ru-RU" sz="20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ртале государственных услуг: </a:t>
            </a:r>
            <a:r>
              <a:rPr lang="en-US" sz="20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ttps</a:t>
            </a:r>
            <a:r>
              <a:rPr lang="en-US" sz="2000" b="1" dirty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//</a:t>
            </a:r>
            <a:r>
              <a:rPr lang="en-US" sz="20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ww.gosuslugi.ru</a:t>
            </a:r>
            <a:endParaRPr lang="ru-RU" sz="2000" b="1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502405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479723" y="3816641"/>
            <a:ext cx="2248489" cy="1474759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435114" y="3802455"/>
            <a:ext cx="2245853" cy="1613079"/>
          </a:xfrm>
          <a:prstGeom prst="rect">
            <a:avLst/>
          </a:prstGeom>
        </p:spPr>
      </p:pic>
      <p:grpSp>
        <p:nvGrpSpPr>
          <p:cNvPr id="22" name="Группа 21"/>
          <p:cNvGrpSpPr/>
          <p:nvPr/>
        </p:nvGrpSpPr>
        <p:grpSpPr>
          <a:xfrm>
            <a:off x="0" y="6423137"/>
            <a:ext cx="12201525" cy="443436"/>
            <a:chOff x="0" y="6444925"/>
            <a:chExt cx="12201525" cy="421216"/>
          </a:xfrm>
        </p:grpSpPr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0" y="6444925"/>
              <a:ext cx="12201525" cy="421216"/>
            </a:xfrm>
            <a:prstGeom prst="rect">
              <a:avLst/>
            </a:prstGeom>
          </p:spPr>
        </p:pic>
        <p:pic>
          <p:nvPicPr>
            <p:cNvPr id="24" name="Рисунок 23">
              <a:extLst>
                <a:ext uri="{FF2B5EF4-FFF2-40B4-BE49-F238E27FC236}">
                  <a16:creationId xmlns="" xmlns:a16="http://schemas.microsoft.com/office/drawing/2014/main" id="{C61BBDC5-A263-B367-C49F-DFB02E5BFA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84273"/>
            <a:stretch/>
          </p:blipFill>
          <p:spPr>
            <a:xfrm>
              <a:off x="6896100" y="6444925"/>
              <a:ext cx="5295899" cy="413072"/>
            </a:xfrm>
            <a:prstGeom prst="rect">
              <a:avLst/>
            </a:prstGeom>
          </p:spPr>
        </p:pic>
      </p:grpSp>
      <p:pic>
        <p:nvPicPr>
          <p:cNvPr id="3077" name="Picture 9" descr="основное лого 2 красноярский край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9100" y="90900"/>
            <a:ext cx="1803971" cy="6333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159659" y="82325"/>
            <a:ext cx="90418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амятка 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ообладателю по постановке на государственный кадастровый учёт и государственной регистрации прав на жилой или садовый дом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 flipV="1">
            <a:off x="1688078" y="731945"/>
            <a:ext cx="1862019" cy="170840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111048" y="2351161"/>
            <a:ext cx="3016077" cy="13849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ообладатель после окончания строительства (реконструкции) жилого или садового дома обращается к кадастровому инженеру для подготовки технического плана</a:t>
            </a:r>
            <a:endParaRPr lang="ru-RU" sz="1400" b="1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089627" y="3802455"/>
            <a:ext cx="3003261" cy="290288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301923" y="863460"/>
            <a:ext cx="2530140" cy="1683950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7070407" y="2655790"/>
            <a:ext cx="2985133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дастровый инженер подготавливает технический план и передает готовый пакет документов правообладателю </a:t>
            </a:r>
            <a:endParaRPr lang="ru-RU" sz="1400" b="1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1089627" y="808444"/>
            <a:ext cx="3011315" cy="290288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7087744" y="5187875"/>
            <a:ext cx="3020840" cy="14927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ообладатель посредством Личного кабинета: </a:t>
            </a:r>
            <a:r>
              <a:rPr lang="en-US" sz="13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osreestr.gov.ru </a:t>
            </a:r>
            <a:r>
              <a:rPr lang="ru-RU" sz="13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формирует заявление, прикрепляет документы</a:t>
            </a:r>
            <a:r>
              <a:rPr lang="ru-RU" sz="1300" b="1" dirty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ru-RU" sz="13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дготовленные кадастровым инженером и направляет в </a:t>
            </a:r>
            <a:r>
              <a:rPr lang="ru-RU" sz="1300" b="1" dirty="0" err="1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реестр</a:t>
            </a:r>
            <a:r>
              <a:rPr lang="ru-RU" sz="13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(госпошлина - 350 рублей)</a:t>
            </a:r>
            <a:endParaRPr lang="ru-RU" sz="1300" b="1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128166" y="5320349"/>
            <a:ext cx="2981840" cy="13849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реестр в срок 1 рабочий день осуществляет учётно-регистрационные действия и направляет правообладателю выписку из ЕГРН на адрес его электронной почты</a:t>
            </a:r>
            <a:endParaRPr lang="ru-RU" sz="1400" b="1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Стрелка влево 36"/>
          <p:cNvSpPr/>
          <p:nvPr/>
        </p:nvSpPr>
        <p:spPr>
          <a:xfrm>
            <a:off x="4088732" y="4936371"/>
            <a:ext cx="2981675" cy="585712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Выгнутая вправо стрелка 38"/>
          <p:cNvSpPr/>
          <p:nvPr/>
        </p:nvSpPr>
        <p:spPr>
          <a:xfrm>
            <a:off x="10076669" y="1927041"/>
            <a:ext cx="1492798" cy="3469872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7057317" y="790211"/>
            <a:ext cx="3011315" cy="290288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>
            <a:off x="7070407" y="3802455"/>
            <a:ext cx="3011315" cy="290288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Стрелка влево 29"/>
          <p:cNvSpPr/>
          <p:nvPr/>
        </p:nvSpPr>
        <p:spPr>
          <a:xfrm rot="10800000">
            <a:off x="4101825" y="1946536"/>
            <a:ext cx="2981675" cy="585712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433642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Группа 21"/>
          <p:cNvGrpSpPr/>
          <p:nvPr/>
        </p:nvGrpSpPr>
        <p:grpSpPr>
          <a:xfrm>
            <a:off x="0" y="6423137"/>
            <a:ext cx="12201525" cy="443436"/>
            <a:chOff x="0" y="6444925"/>
            <a:chExt cx="12201525" cy="421216"/>
          </a:xfrm>
        </p:grpSpPr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0" y="6444925"/>
              <a:ext cx="12201525" cy="421216"/>
            </a:xfrm>
            <a:prstGeom prst="rect">
              <a:avLst/>
            </a:prstGeom>
          </p:spPr>
        </p:pic>
        <p:pic>
          <p:nvPicPr>
            <p:cNvPr id="24" name="Рисунок 23">
              <a:extLst>
                <a:ext uri="{FF2B5EF4-FFF2-40B4-BE49-F238E27FC236}">
                  <a16:creationId xmlns="" xmlns:a16="http://schemas.microsoft.com/office/drawing/2014/main" id="{C61BBDC5-A263-B367-C49F-DFB02E5BFA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84273"/>
            <a:stretch/>
          </p:blipFill>
          <p:spPr>
            <a:xfrm>
              <a:off x="6896100" y="6444925"/>
              <a:ext cx="5295899" cy="413072"/>
            </a:xfrm>
            <a:prstGeom prst="rect">
              <a:avLst/>
            </a:prstGeom>
          </p:spPr>
        </p:pic>
      </p:grpSp>
      <p:pic>
        <p:nvPicPr>
          <p:cNvPr id="3077" name="Picture 9" descr="основное лого 2 красноярский край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9100" y="90899"/>
            <a:ext cx="2401361" cy="843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159659" y="82325"/>
            <a:ext cx="90418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амятка 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ообладателю по изменению основных                                  характеристик объекта недвижимости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448554" y="2423345"/>
            <a:ext cx="3069202" cy="13849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ообладатель обращается к кадастровому инженеру для подготовки технического (межевого) плана в связи с изменением основных характеристик объекта</a:t>
            </a:r>
            <a:endParaRPr lang="ru-RU" sz="1400" b="1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448554" y="984172"/>
            <a:ext cx="3075689" cy="279143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7140364" y="2537131"/>
            <a:ext cx="3067634" cy="116955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дастровый инженер подготавливает технический (межевой) план и передает готовый пакет документов правообладателю </a:t>
            </a:r>
            <a:endParaRPr lang="ru-RU" sz="1400" b="1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7114985" y="5212740"/>
            <a:ext cx="3047067" cy="14927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ообладатель посредством Личного кабинета: </a:t>
            </a:r>
            <a:r>
              <a:rPr lang="en-US" sz="13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osreestr.gov.ru </a:t>
            </a:r>
            <a:r>
              <a:rPr lang="ru-RU" sz="13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формирует заявление, прикрепляет документы, подготовленные кадастровым инженером и направляет в </a:t>
            </a:r>
            <a:r>
              <a:rPr lang="ru-RU" sz="1300" b="1" dirty="0" err="1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реестр</a:t>
            </a:r>
            <a:r>
              <a:rPr lang="ru-RU" sz="13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</a:t>
            </a:r>
            <a:r>
              <a:rPr lang="ru-RU" sz="1300" b="1" dirty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госпошлина не требуется) 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424420" y="5343539"/>
            <a:ext cx="3061148" cy="116955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реестр в срок 1 рабочий день осуществляет учётные действия и направляет правообладателю выписку из ЕГРН на адрес его электронной почты</a:t>
            </a:r>
            <a:endParaRPr lang="ru-RU" sz="1400" b="1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836113" y="3870837"/>
            <a:ext cx="2214638" cy="1590659"/>
          </a:xfrm>
          <a:prstGeom prst="rect">
            <a:avLst/>
          </a:prstGeom>
        </p:spPr>
      </p:pic>
      <p:sp>
        <p:nvSpPr>
          <p:cNvPr id="18" name="Стрелка вправо 17"/>
          <p:cNvSpPr/>
          <p:nvPr/>
        </p:nvSpPr>
        <p:spPr>
          <a:xfrm>
            <a:off x="4532297" y="2118511"/>
            <a:ext cx="2600796" cy="39555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Стрелка влево 36"/>
          <p:cNvSpPr/>
          <p:nvPr/>
        </p:nvSpPr>
        <p:spPr>
          <a:xfrm>
            <a:off x="4524243" y="4910104"/>
            <a:ext cx="2606822" cy="44233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Выгнутая вправо стрелка 38"/>
          <p:cNvSpPr/>
          <p:nvPr/>
        </p:nvSpPr>
        <p:spPr>
          <a:xfrm>
            <a:off x="10215269" y="2086258"/>
            <a:ext cx="1395272" cy="3367889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19131" y="1045477"/>
            <a:ext cx="2564422" cy="144248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422360" y="1036424"/>
            <a:ext cx="2400649" cy="1500707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>
          <a:xfrm>
            <a:off x="1456608" y="3863541"/>
            <a:ext cx="3075689" cy="279143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7125039" y="978769"/>
            <a:ext cx="3075689" cy="279143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7125038" y="3870837"/>
            <a:ext cx="3075689" cy="279143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28445" y="3893901"/>
            <a:ext cx="2113332" cy="1386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359897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heme/theme1.xml><?xml version="1.0" encoding="utf-8"?>
<a:theme xmlns:a="http://schemas.openxmlformats.org/drawingml/2006/main" name="5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" id="{EE3B7C56-B755-41EF-B669-C2C8DF7AFB6E}" vid="{47A418CC-2947-4B56-AD63-8F711EAA87F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9</TotalTime>
  <Words>290</Words>
  <Application>Microsoft Office PowerPoint</Application>
  <PresentationFormat>Произвольный</PresentationFormat>
  <Paragraphs>20</Paragraphs>
  <Slides>3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5" baseType="lpstr">
      <vt:lpstr>5_Шаблон</vt:lpstr>
      <vt:lpstr>think-cell Slide</vt:lpstr>
      <vt:lpstr>Слайд 1</vt:lpstr>
      <vt:lpstr>Слайд 2</vt:lpstr>
      <vt:lpstr>Слайд 3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ddddd</dc:creator>
  <cp:lastModifiedBy>user</cp:lastModifiedBy>
  <cp:revision>83</cp:revision>
  <cp:lastPrinted>2024-01-10T00:23:56Z</cp:lastPrinted>
  <dcterms:created xsi:type="dcterms:W3CDTF">2023-04-06T16:06:08Z</dcterms:created>
  <dcterms:modified xsi:type="dcterms:W3CDTF">2024-01-12T07:57:25Z</dcterms:modified>
</cp:coreProperties>
</file>